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3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sldIdLst>
    <p:sldId id="256" r:id="rId2"/>
    <p:sldId id="269" r:id="rId3"/>
    <p:sldId id="271" r:id="rId4"/>
    <p:sldId id="272" r:id="rId5"/>
    <p:sldId id="274" r:id="rId6"/>
    <p:sldId id="275" r:id="rId7"/>
    <p:sldId id="276" r:id="rId8"/>
    <p:sldId id="278" r:id="rId9"/>
    <p:sldId id="261" r:id="rId10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9C08"/>
    <a:srgbClr val="FBAF3F"/>
    <a:srgbClr val="F89708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6" d="100"/>
          <a:sy n="86" d="100"/>
        </p:scale>
        <p:origin x="101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8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40DC7FE0-21E6-412C-BEDF-7F7652DA4BAE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dk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id="{1CF1C83C-BE86-4CDD-A37F-E296AE15933C}"/>
              </a:ext>
            </a:extLst>
          </p:cNvPr>
          <p:cNvSpPr>
            <a:spLocks noChangeAspect="1"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5" name="直角三角形 4">
            <a:extLst>
              <a:ext uri="{FF2B5EF4-FFF2-40B4-BE49-F238E27FC236}">
                <a16:creationId xmlns:a16="http://schemas.microsoft.com/office/drawing/2014/main" id="{50C1C7FF-FC4C-40EA-8DD1-A1F229B8617E}"/>
              </a:ext>
            </a:extLst>
          </p:cNvPr>
          <p:cNvSpPr/>
          <p:nvPr userDrawn="1"/>
        </p:nvSpPr>
        <p:spPr>
          <a:xfrm flipV="1">
            <a:off x="-1" y="0"/>
            <a:ext cx="1737007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4" name="直角三角形 3">
            <a:extLst>
              <a:ext uri="{FF2B5EF4-FFF2-40B4-BE49-F238E27FC236}">
                <a16:creationId xmlns:a16="http://schemas.microsoft.com/office/drawing/2014/main" id="{2ECCFBD3-5DD9-42F7-B21E-C84D9F47582F}"/>
              </a:ext>
            </a:extLst>
          </p:cNvPr>
          <p:cNvSpPr/>
          <p:nvPr userDrawn="1"/>
        </p:nvSpPr>
        <p:spPr>
          <a:xfrm>
            <a:off x="1" y="571500"/>
            <a:ext cx="3526972" cy="62865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8" name="任意多边形: 形状 157">
            <a:extLst>
              <a:ext uri="{FF2B5EF4-FFF2-40B4-BE49-F238E27FC236}">
                <a16:creationId xmlns:a16="http://schemas.microsoft.com/office/drawing/2014/main" id="{9E56C5ED-730D-4E0F-8B91-8AE7E01B5BA4}"/>
              </a:ext>
            </a:extLst>
          </p:cNvPr>
          <p:cNvSpPr/>
          <p:nvPr userDrawn="1"/>
        </p:nvSpPr>
        <p:spPr>
          <a:xfrm flipH="1">
            <a:off x="8455098" y="3162300"/>
            <a:ext cx="3736903" cy="3695700"/>
          </a:xfrm>
          <a:custGeom>
            <a:avLst/>
            <a:gdLst>
              <a:gd name="connsiteX0" fmla="*/ 0 w 3736900"/>
              <a:gd name="connsiteY0" fmla="*/ 0 h 3861022"/>
              <a:gd name="connsiteX1" fmla="*/ 0 w 3736900"/>
              <a:gd name="connsiteY1" fmla="*/ 3861022 h 3861022"/>
              <a:gd name="connsiteX2" fmla="*/ 3736900 w 3736900"/>
              <a:gd name="connsiteY2" fmla="*/ 3861022 h 38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36900" h="3861022">
                <a:moveTo>
                  <a:pt x="0" y="0"/>
                </a:moveTo>
                <a:lnTo>
                  <a:pt x="0" y="3861022"/>
                </a:lnTo>
                <a:lnTo>
                  <a:pt x="3736900" y="386102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3" name="直角三角形 152">
            <a:extLst>
              <a:ext uri="{FF2B5EF4-FFF2-40B4-BE49-F238E27FC236}">
                <a16:creationId xmlns:a16="http://schemas.microsoft.com/office/drawing/2014/main" id="{A3E9EECF-3E88-40E2-B2EE-EB09E425D202}"/>
              </a:ext>
            </a:extLst>
          </p:cNvPr>
          <p:cNvSpPr/>
          <p:nvPr userDrawn="1"/>
        </p:nvSpPr>
        <p:spPr>
          <a:xfrm flipH="1">
            <a:off x="8665026" y="4019550"/>
            <a:ext cx="3526973" cy="283845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cxnSp>
        <p:nvCxnSpPr>
          <p:cNvPr id="9794" name="直接连接符 9793">
            <a:extLst>
              <a:ext uri="{FF2B5EF4-FFF2-40B4-BE49-F238E27FC236}">
                <a16:creationId xmlns:a16="http://schemas.microsoft.com/office/drawing/2014/main" id="{37F2DB4A-01CB-48ED-9500-C136D472BD13}"/>
              </a:ext>
            </a:extLst>
          </p:cNvPr>
          <p:cNvCxnSpPr>
            <a:cxnSpLocks/>
            <a:stCxn id="4" idx="0"/>
          </p:cNvCxnSpPr>
          <p:nvPr userDrawn="1"/>
        </p:nvCxnSpPr>
        <p:spPr>
          <a:xfrm>
            <a:off x="0" y="571500"/>
            <a:ext cx="3736903" cy="62865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496879" y="3060935"/>
            <a:ext cx="5618092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496879" y="1773874"/>
            <a:ext cx="5618092" cy="1117600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96879" y="4476984"/>
            <a:ext cx="561809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496879" y="4773255"/>
            <a:ext cx="561809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863766" y="29267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864882" y="382208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5AC59681-F11A-4532-9DB9-5A192353D748}"/>
              </a:ext>
            </a:extLst>
          </p:cNvPr>
          <p:cNvGrpSpPr/>
          <p:nvPr userDrawn="1"/>
        </p:nvGrpSpPr>
        <p:grpSpPr>
          <a:xfrm>
            <a:off x="6762750" y="2926731"/>
            <a:ext cx="3975100" cy="3931271"/>
            <a:chOff x="6096000" y="3162300"/>
            <a:chExt cx="3736902" cy="3695700"/>
          </a:xfrm>
        </p:grpSpPr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E6A5888F-D713-4E46-84DE-7ABF6477050A}"/>
                </a:ext>
              </a:extLst>
            </p:cNvPr>
            <p:cNvSpPr/>
            <p:nvPr userDrawn="1"/>
          </p:nvSpPr>
          <p:spPr>
            <a:xfrm flipH="1">
              <a:off x="6096000" y="3162300"/>
              <a:ext cx="3736902" cy="3695700"/>
            </a:xfrm>
            <a:custGeom>
              <a:avLst/>
              <a:gdLst>
                <a:gd name="connsiteX0" fmla="*/ 0 w 3736900"/>
                <a:gd name="connsiteY0" fmla="*/ 0 h 3861022"/>
                <a:gd name="connsiteX1" fmla="*/ 0 w 3736900"/>
                <a:gd name="connsiteY1" fmla="*/ 3861022 h 3861022"/>
                <a:gd name="connsiteX2" fmla="*/ 3736900 w 3736900"/>
                <a:gd name="connsiteY2" fmla="*/ 3861022 h 386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900" h="3861022">
                  <a:moveTo>
                    <a:pt x="0" y="0"/>
                  </a:moveTo>
                  <a:lnTo>
                    <a:pt x="0" y="3861022"/>
                  </a:lnTo>
                  <a:lnTo>
                    <a:pt x="3736900" y="386102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  <p:sp>
          <p:nvSpPr>
            <p:cNvPr id="11" name="直角三角形 10">
              <a:extLst>
                <a:ext uri="{FF2B5EF4-FFF2-40B4-BE49-F238E27FC236}">
                  <a16:creationId xmlns:a16="http://schemas.microsoft.com/office/drawing/2014/main" id="{A909143A-6E6D-42D3-B70E-641FC4797D94}"/>
                </a:ext>
              </a:extLst>
            </p:cNvPr>
            <p:cNvSpPr/>
            <p:nvPr userDrawn="1"/>
          </p:nvSpPr>
          <p:spPr>
            <a:xfrm flipH="1">
              <a:off x="6305927" y="4019550"/>
              <a:ext cx="3526973" cy="283845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</p:grp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A43CB56A-47A2-4167-BCC1-D971B443E93C}"/>
              </a:ext>
            </a:extLst>
          </p:cNvPr>
          <p:cNvSpPr/>
          <p:nvPr userDrawn="1"/>
        </p:nvSpPr>
        <p:spPr>
          <a:xfrm>
            <a:off x="6516914" y="0"/>
            <a:ext cx="5675087" cy="6858000"/>
          </a:xfrm>
          <a:custGeom>
            <a:avLst/>
            <a:gdLst>
              <a:gd name="connsiteX0" fmla="*/ 0 w 5675086"/>
              <a:gd name="connsiteY0" fmla="*/ 0 h 6858000"/>
              <a:gd name="connsiteX1" fmla="*/ 5675086 w 5675086"/>
              <a:gd name="connsiteY1" fmla="*/ 0 h 6858000"/>
              <a:gd name="connsiteX2" fmla="*/ 5675086 w 5675086"/>
              <a:gd name="connsiteY2" fmla="*/ 6858000 h 6858000"/>
              <a:gd name="connsiteX3" fmla="*/ 4093874 w 5675086"/>
              <a:gd name="connsiteY3" fmla="*/ 6858000 h 6858000"/>
              <a:gd name="connsiteX4" fmla="*/ 0 w 5675086"/>
              <a:gd name="connsiteY4" fmla="*/ 20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5086" h="6858000">
                <a:moveTo>
                  <a:pt x="0" y="0"/>
                </a:moveTo>
                <a:lnTo>
                  <a:pt x="5675086" y="0"/>
                </a:lnTo>
                <a:lnTo>
                  <a:pt x="5675086" y="6858000"/>
                </a:lnTo>
                <a:lnTo>
                  <a:pt x="4093874" y="6858000"/>
                </a:lnTo>
                <a:lnTo>
                  <a:pt x="0" y="2008"/>
                </a:lnTo>
                <a:close/>
              </a:path>
            </a:pathLst>
          </a:custGeom>
          <a:blipFill>
            <a:blip r:embed="rId2"/>
            <a:stretch>
              <a:fillRect l="-38239" r="-380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8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8/5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直角三角形 7">
            <a:extLst>
              <a:ext uri="{FF2B5EF4-FFF2-40B4-BE49-F238E27FC236}">
                <a16:creationId xmlns:a16="http://schemas.microsoft.com/office/drawing/2014/main" id="{5A91033B-0FD1-4F81-938B-1B59EAD36061}"/>
              </a:ext>
            </a:extLst>
          </p:cNvPr>
          <p:cNvSpPr/>
          <p:nvPr userDrawn="1"/>
        </p:nvSpPr>
        <p:spPr>
          <a:xfrm flipH="1" flipV="1">
            <a:off x="10454994" y="0"/>
            <a:ext cx="1737007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9" name="直角三角形 8">
            <a:extLst>
              <a:ext uri="{FF2B5EF4-FFF2-40B4-BE49-F238E27FC236}">
                <a16:creationId xmlns:a16="http://schemas.microsoft.com/office/drawing/2014/main" id="{6C1416C0-35BC-40A9-AD02-B9F92DD39DBA}"/>
              </a:ext>
            </a:extLst>
          </p:cNvPr>
          <p:cNvSpPr/>
          <p:nvPr userDrawn="1"/>
        </p:nvSpPr>
        <p:spPr>
          <a:xfrm flipH="1">
            <a:off x="8665027" y="571500"/>
            <a:ext cx="3526972" cy="6286500"/>
          </a:xfrm>
          <a:prstGeom prst="rtTriangle">
            <a:avLst/>
          </a:prstGeom>
          <a:solidFill>
            <a:srgbClr val="FFC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618C0A69-5102-4036-9C4A-0B57F4344D2C}"/>
              </a:ext>
            </a:extLst>
          </p:cNvPr>
          <p:cNvSpPr/>
          <p:nvPr userDrawn="1"/>
        </p:nvSpPr>
        <p:spPr>
          <a:xfrm>
            <a:off x="-2" y="3162300"/>
            <a:ext cx="3736903" cy="3695700"/>
          </a:xfrm>
          <a:custGeom>
            <a:avLst/>
            <a:gdLst>
              <a:gd name="connsiteX0" fmla="*/ 0 w 3736900"/>
              <a:gd name="connsiteY0" fmla="*/ 0 h 3861022"/>
              <a:gd name="connsiteX1" fmla="*/ 0 w 3736900"/>
              <a:gd name="connsiteY1" fmla="*/ 3861022 h 3861022"/>
              <a:gd name="connsiteX2" fmla="*/ 3736900 w 3736900"/>
              <a:gd name="connsiteY2" fmla="*/ 3861022 h 38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36900" h="3861022">
                <a:moveTo>
                  <a:pt x="0" y="0"/>
                </a:moveTo>
                <a:lnTo>
                  <a:pt x="0" y="3861022"/>
                </a:lnTo>
                <a:lnTo>
                  <a:pt x="3736900" y="386102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1" name="直角三角形 10">
            <a:extLst>
              <a:ext uri="{FF2B5EF4-FFF2-40B4-BE49-F238E27FC236}">
                <a16:creationId xmlns:a16="http://schemas.microsoft.com/office/drawing/2014/main" id="{9F10F22B-3423-489E-9DD5-8A1CE557D0E9}"/>
              </a:ext>
            </a:extLst>
          </p:cNvPr>
          <p:cNvSpPr/>
          <p:nvPr userDrawn="1"/>
        </p:nvSpPr>
        <p:spPr>
          <a:xfrm>
            <a:off x="0" y="4019550"/>
            <a:ext cx="3526973" cy="283845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08614ACC-A7D7-4280-B112-6173086D611B}"/>
              </a:ext>
            </a:extLst>
          </p:cNvPr>
          <p:cNvCxnSpPr>
            <a:cxnSpLocks/>
            <a:stCxn id="9" idx="0"/>
          </p:cNvCxnSpPr>
          <p:nvPr userDrawn="1"/>
        </p:nvCxnSpPr>
        <p:spPr>
          <a:xfrm flipH="1">
            <a:off x="8455097" y="571500"/>
            <a:ext cx="3736903" cy="62865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3" y="1898653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3" y="4204889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4" marR="0" lvl="0" indent="-228584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82963" y="3908618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8/5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3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zh-CN" altLang="en-US" sz="3600" dirty="0"/>
              <a:t>切割</a:t>
            </a:r>
            <a:endParaRPr lang="en-US" altLang="zh-CN" sz="3600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Animation</a:t>
            </a:r>
            <a:br>
              <a:rPr lang="en-US" altLang="zh-CN" dirty="0"/>
            </a:br>
            <a:endParaRPr lang="zh-CN" altLang="en-US" sz="3100" b="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endParaRPr lang="en-US" altLang="en-US" dirty="0"/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757A9238-71E4-415D-A10C-26D3A95E3F57}"/>
              </a:ext>
            </a:extLst>
          </p:cNvPr>
          <p:cNvCxnSpPr>
            <a:cxnSpLocks/>
          </p:cNvCxnSpPr>
          <p:nvPr/>
        </p:nvCxnSpPr>
        <p:spPr>
          <a:xfrm>
            <a:off x="3267077" y="2980251"/>
            <a:ext cx="62960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219179BF-9239-47D4-B305-9CDA4389B244}"/>
              </a:ext>
            </a:extLst>
          </p:cNvPr>
          <p:cNvCxnSpPr>
            <a:cxnSpLocks/>
          </p:cNvCxnSpPr>
          <p:nvPr/>
        </p:nvCxnSpPr>
        <p:spPr>
          <a:xfrm>
            <a:off x="3267077" y="1608651"/>
            <a:ext cx="62960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763167" cy="4083608"/>
            <a:chOff x="757282" y="1700808"/>
            <a:chExt cx="10763167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167" cy="4083608"/>
              <a:chOff x="1175743" y="1700808"/>
              <a:chExt cx="10344707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55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进入之前的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Animation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场景，找到导入的动画模型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FBX_Biker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进行动画切割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切割后的动画大致如下</a:t>
                </a:r>
                <a:r>
                  <a:rPr lang="zh-CN" altLang="en-US" b="0" dirty="0">
                    <a:latin typeface="+mn-lt"/>
                    <a:ea typeface="+mn-ea"/>
                    <a:sym typeface="Wingdings" panose="05000000000000000000" pitchFamily="2" charset="2"/>
                  </a:rPr>
                  <a:t>（可以只做前四个）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准备工作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11" name="图片 10">
            <a:extLst>
              <a:ext uri="{FF2B5EF4-FFF2-40B4-BE49-F238E27FC236}">
                <a16:creationId xmlns:a16="http://schemas.microsoft.com/office/drawing/2014/main" id="{48E2527A-170D-45C2-ACC9-4B2CD4C9D2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0747" y="2565909"/>
            <a:ext cx="3665538" cy="2301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动画切割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DFAE9912-05E1-4ADD-9CF3-4C286C9EC7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6252" y="1887388"/>
            <a:ext cx="5883150" cy="2674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7907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632794" cy="4083608"/>
            <a:chOff x="757282" y="1700808"/>
            <a:chExt cx="10632794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632794" cy="4083608"/>
              <a:chOff x="1175743" y="1700808"/>
              <a:chExt cx="10219403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696851" y="1759324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制作第一个动画，点击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+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，命名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Idl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，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start-end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大约在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1-50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帧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动画切割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C99242DF-4B87-4F44-B0C0-7A3E19B60E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0285" y="2373696"/>
            <a:ext cx="3124471" cy="1897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0897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632794" cy="4083608"/>
            <a:chOff x="757282" y="1700808"/>
            <a:chExt cx="10632794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632794" cy="4083608"/>
              <a:chOff x="1175743" y="1700808"/>
              <a:chExt cx="10219403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696851" y="1759324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Idle: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其中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loop pos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：自动修正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Loop time: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是否循环  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back into pose: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动画运动是否可以改变实际的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position/rotation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，勾选代表不能改变，只可通过逻辑改变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绿色表示动作首位比较匹配，黄色次之，红色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不匹配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动画切割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4" name="图片 3">
            <a:extLst>
              <a:ext uri="{FF2B5EF4-FFF2-40B4-BE49-F238E27FC236}">
                <a16:creationId xmlns:a16="http://schemas.microsoft.com/office/drawing/2014/main" id="{5B5F941A-1FD0-4D97-BC8A-54076DC2E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53254" y="2581425"/>
            <a:ext cx="3154953" cy="4198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1824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632794" cy="4083608"/>
            <a:chOff x="757282" y="1700808"/>
            <a:chExt cx="10632794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632794" cy="4083608"/>
              <a:chOff x="1175743" y="1700808"/>
              <a:chExt cx="10219403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696851" y="1759324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RunForward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动画切割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4944D9B1-375F-4963-A0E2-313B2CACA7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1360" y="1829799"/>
            <a:ext cx="3330229" cy="459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4594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632794" cy="4083608"/>
            <a:chOff x="757282" y="1700808"/>
            <a:chExt cx="10632794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632794" cy="4083608"/>
              <a:chOff x="1175743" y="1700808"/>
              <a:chExt cx="10219403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696851" y="1759324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RunBackward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动画切割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5" name="图片 4">
            <a:extLst>
              <a:ext uri="{FF2B5EF4-FFF2-40B4-BE49-F238E27FC236}">
                <a16:creationId xmlns:a16="http://schemas.microsoft.com/office/drawing/2014/main" id="{56FAEB80-E2D3-4A46-90A3-A4C1DA7D94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9609" y="1759324"/>
            <a:ext cx="3391194" cy="4656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9311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632794" cy="4083608"/>
            <a:chOff x="757282" y="1700808"/>
            <a:chExt cx="10632794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632794" cy="4083608"/>
              <a:chOff x="1175743" y="1700808"/>
              <a:chExt cx="10219403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696851" y="1759324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RunRight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下面几个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back into pos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不勾选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可以看出是有角速度和移动速度的，勾选了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则全部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0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动画切割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397E1953-B4E7-4235-B744-EA24B4684E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3990" y="1558761"/>
            <a:ext cx="3520745" cy="4404742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826CE2DE-20E2-4BF4-A5D9-19EAD50749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2163" y="4631701"/>
            <a:ext cx="3589331" cy="69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7687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</a:t>
            </a:r>
            <a:br>
              <a:rPr lang="en-US" altLang="zh-CN" dirty="0"/>
            </a:br>
            <a:r>
              <a:rPr lang="en-US" altLang="zh-CN" dirty="0"/>
              <a:t>And Your Slogan Here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e65689fe-6797-4cb7-96fe-01dc2e5a56d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FBF00"/>
      </a:accent1>
      <a:accent2>
        <a:srgbClr val="FAAF3F"/>
      </a:accent2>
      <a:accent3>
        <a:srgbClr val="000000"/>
      </a:accent3>
      <a:accent4>
        <a:srgbClr val="727272"/>
      </a:accent4>
      <a:accent5>
        <a:srgbClr val="595959"/>
      </a:accent5>
      <a:accent6>
        <a:srgbClr val="666666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85</TotalTime>
  <Words>146</Words>
  <Application>Microsoft Office PowerPoint</Application>
  <PresentationFormat>宽屏</PresentationFormat>
  <Paragraphs>26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6" baseType="lpstr">
      <vt:lpstr>宋体</vt:lpstr>
      <vt:lpstr>微软雅黑</vt:lpstr>
      <vt:lpstr>Arial</vt:lpstr>
      <vt:lpstr>Calibri</vt:lpstr>
      <vt:lpstr>Wingdings</vt:lpstr>
      <vt:lpstr>主题5</vt:lpstr>
      <vt:lpstr>think-cell Slide</vt:lpstr>
      <vt:lpstr>Animation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 </cp:lastModifiedBy>
  <cp:revision>82</cp:revision>
  <cp:lastPrinted>2018-06-07T16:00:00Z</cp:lastPrinted>
  <dcterms:created xsi:type="dcterms:W3CDTF">2018-06-07T16:00:00Z</dcterms:created>
  <dcterms:modified xsi:type="dcterms:W3CDTF">2018-08-05T13:4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